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0"/>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CA1F6A72-2998-4BD7-A493-97E80512BC0F}">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62" d="100"/>
          <a:sy n="62" d="100"/>
        </p:scale>
        <p:origin x="53" y="62"/>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notesMaster" Target="notesMasters/notesMaster1.xml"/><Relationship Id="rId51" Type="http://schemas.openxmlformats.org/officeDocument/2006/relationships/presProps" Target="presProps.xml"/><Relationship Id="rId52" Type="http://schemas.openxmlformats.org/officeDocument/2006/relationships/viewProps" Target="viewProps.xml"/><Relationship Id="rId53" Type="http://schemas.openxmlformats.org/officeDocument/2006/relationships/theme" Target="theme/theme1.xml"/><Relationship Id="rId54" Type="http://schemas.openxmlformats.org/officeDocument/2006/relationships/tableStyles" Target="tableStyles.xml"/><Relationship Id="rId55" Type="http://schemas.microsoft.com/office/2015/10/relationships/revisionInfo" Target="revisionInfo.xml"/><Relationship Id="rId56"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363083861289606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29633614936349</c:v>
                </c:pt>
                <c:pt idx="1">
                  <c:v>0.001101709245264650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002078019180416</c:v>
                </c:pt>
                <c:pt idx="2">
                  <c:v>0.006489823409914832</c:v>
                </c:pt>
                <c:pt idx="3">
                  <c:v>0.01597613969082372</c:v>
                </c:pt>
                <c:pt idx="4">
                  <c:v>0.001217644823852454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4689826580363336</c:v>
                </c:pt>
                <c:pt idx="1">
                  <c:v>0.04926270966387391</c:v>
                </c:pt>
                <c:pt idx="2">
                  <c:v>0.0012879554269269262</c:v>
                </c:pt>
                <c:pt idx="3">
                  <c:v>0.00470070103566624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994443774636231</c:v>
                </c:pt>
                <c:pt idx="3">
                  <c:v>0.0569581321814157</c:v>
                </c:pt>
                <c:pt idx="4">
                  <c:v>0.1257633985070467</c:v>
                </c:pt>
                <c:pt idx="5">
                  <c:v>0.3704427785148327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4219711953033881</c:v>
                </c:pt>
                <c:pt idx="4">
                  <c:v>0.01149361637309518</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3545514744775011</c:v>
                </c:pt>
                <c:pt idx="3">
                  <c:v>0.03982482817424528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1">
                  <c:v>0.0008635871429484475</c:v>
                </c:pt>
                <c:pt idx="2">
                  <c:v>0.035874493491339275</c:v>
                </c:pt>
                <c:pt idx="3">
                  <c:v>0.017777024720072254</c:v>
                </c:pt>
                <c:pt idx="4">
                  <c:v>0.02025591798164293</c:v>
                </c:pt>
                <c:pt idx="5">
                  <c:v>0.1393300469199988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593408363733361</c:v>
                </c:pt>
                <c:pt idx="3">
                  <c:v>0.005713335507395148</c:v>
                </c:pt>
                <c:pt idx="4">
                  <c:v>0.002242629607290868</c:v>
                </c:pt>
                <c:pt idx="5">
                  <c:v>0.00995846116319435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7387488112012431</c:v>
                </c:pt>
                <c:pt idx="3">
                  <c:v>0.003874771805296088</c:v>
                </c:pt>
                <c:pt idx="4">
                  <c:v>0.01239203265656815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616246226144931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642303689519077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22214049764099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6685021281286957</c:v>
                </c:pt>
                <c:pt idx="1">
                  <c:v>0.0033198298701778554</c:v>
                </c:pt>
                <c:pt idx="3">
                  <c:v>0.0026746285375653074</c:v>
                </c:pt>
                <c:pt idx="6">
                  <c:v>0.002405102256020507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961066768182297</c:v>
                </c:pt>
                <c:pt idx="1">
                  <c:v>0.05392722620839848</c:v>
                </c:pt>
                <c:pt idx="2">
                  <c:v>0.016591884600261432</c:v>
                </c:pt>
                <c:pt idx="3">
                  <c:v>0.011306773670647722</c:v>
                </c:pt>
                <c:pt idx="4">
                  <c:v>0.02401512947130609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469341826402195</c:v>
                </c:pt>
                <c:pt idx="1">
                  <c:v>0.035732132128109606</c:v>
                </c:pt>
                <c:pt idx="2">
                  <c:v>0.0037894436246744393</c:v>
                </c:pt>
                <c:pt idx="3">
                  <c:v>0.1242285101483969</c:v>
                </c:pt>
                <c:pt idx="4">
                  <c:v>0.17520871766380153</c:v>
                </c:pt>
                <c:pt idx="5">
                  <c:v>0.02094665840143566</c:v>
                </c:pt>
                <c:pt idx="6">
                  <c:v>0.0883224239811941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7385024555511736</c:v>
                </c:pt>
                <c:pt idx="4">
                  <c:v>0.01862940353497232</c:v>
                </c:pt>
                <c:pt idx="6">
                  <c:v>0.01004458231729333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269802895854261</c:v>
                </c:pt>
                <c:pt idx="1">
                  <c:v>0.012176784650826286</c:v>
                </c:pt>
                <c:pt idx="2">
                  <c:v>0.009414593954931619</c:v>
                </c:pt>
                <c:pt idx="3">
                  <c:v>0.007378416277587449</c:v>
                </c:pt>
                <c:pt idx="4">
                  <c:v>0.000946524195995319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649972624438384</c:v>
                </c:pt>
                <c:pt idx="1">
                  <c:v>0.014159698108307701</c:v>
                </c:pt>
                <c:pt idx="2">
                  <c:v>0.0011889228820418714</c:v>
                </c:pt>
                <c:pt idx="3">
                  <c:v>0.028864327605883474</c:v>
                </c:pt>
                <c:pt idx="4">
                  <c:v>0.027938873510877312</c:v>
                </c:pt>
                <c:pt idx="5">
                  <c:v>0.002030697026302500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403371404015253</c:v>
                </c:pt>
                <c:pt idx="1">
                  <c:v>0.000969682164047972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68371768651792</c:v>
                </c:pt>
                <c:pt idx="1">
                  <c:v>0.0038101640462165354</c:v>
                </c:pt>
                <c:pt idx="2">
                  <c:v>0.0007376194409275995</c:v>
                </c:pt>
                <c:pt idx="3">
                  <c:v>0.1332974319316796</c:v>
                </c:pt>
                <c:pt idx="4">
                  <c:v>0.10900179073142006</c:v>
                </c:pt>
                <c:pt idx="5">
                  <c:v>0.004992603820261742</c:v>
                </c:pt>
                <c:pt idx="6">
                  <c:v>0.057940590947443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0282758994115264</c:v>
                </c:pt>
                <c:pt idx="4">
                  <c:v>0.04645045868193269</c:v>
                </c:pt>
                <c:pt idx="5">
                  <c:v>0.0014819325632415188</c:v>
                </c:pt>
                <c:pt idx="6">
                  <c:v>0.02270810289159991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9136170475479</c:v>
                </c:pt>
                <c:pt idx="3">
                  <c:v>0.02010412300246637</c:v>
                </c:pt>
                <c:pt idx="4">
                  <c:v>0.023512487497173083</c:v>
                </c:pt>
                <c:pt idx="5">
                  <c:v>0.0016739078558821224</c:v>
                </c:pt>
                <c:pt idx="6">
                  <c:v>0.001928916059361950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038369655657733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191238987688108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5379902522438471</c:v>
                </c:pt>
                <c:pt idx="5">
                  <c:v>0.000701592248261095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675670709937795</c:v>
                </c:pt>
                <c:pt idx="3">
                  <c:v>0.003611446576499873</c:v>
                </c:pt>
                <c:pt idx="4">
                  <c:v>0.000613589800117000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16655940100737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756453180765693</c:v>
                </c:pt>
                <c:pt idx="1">
                  <c:v>0.0010198723712085084</c:v>
                </c:pt>
                <c:pt idx="2">
                  <c:v>0.0009882569425762756</c:v>
                </c:pt>
                <c:pt idx="3">
                  <c:v>0.006439302998643149</c:v>
                </c:pt>
                <c:pt idx="6">
                  <c:v>0.001183661287883805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97759544050389</c:v>
                </c:pt>
                <c:pt idx="1">
                  <c:v>0.10363190951174818</c:v>
                </c:pt>
                <c:pt idx="2">
                  <c:v>0.022195908356193</c:v>
                </c:pt>
                <c:pt idx="3">
                  <c:v>0.09150721333509476</c:v>
                </c:pt>
                <c:pt idx="4">
                  <c:v>0.09279823346712605</c:v>
                </c:pt>
                <c:pt idx="5">
                  <c:v>0.01438726574746666</c:v>
                </c:pt>
                <c:pt idx="6">
                  <c:v>0.0611144686808016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5342830560417872</c:v>
                </c:pt>
                <c:pt idx="4">
                  <c:v>0.022437048882334255</c:v>
                </c:pt>
                <c:pt idx="5">
                  <c:v>0.001341323848366426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814048782633611</c:v>
                </c:pt>
                <c:pt idx="1">
                  <c:v>0.007177752626536069</c:v>
                </c:pt>
                <c:pt idx="2">
                  <c:v>0.000573448521347828</c:v>
                </c:pt>
                <c:pt idx="3">
                  <c:v>0.08989732465997832</c:v>
                </c:pt>
                <c:pt idx="4">
                  <c:v>0.05066832334956951</c:v>
                </c:pt>
                <c:pt idx="5">
                  <c:v>0.006143530197421113</c:v>
                </c:pt>
                <c:pt idx="6">
                  <c:v>0.0374793486448628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4689826580363336</c:v>
                </c:pt>
                <c:pt idx="1">
                  <c:v>0.04926270966387391</c:v>
                </c:pt>
                <c:pt idx="2">
                  <c:v>0.0012879554269269262</c:v>
                </c:pt>
                <c:pt idx="3">
                  <c:v>0.00470070103566624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961066768182297</c:v>
                </c:pt>
                <c:pt idx="1">
                  <c:v>0.05392722620839848</c:v>
                </c:pt>
                <c:pt idx="2">
                  <c:v>0.016591884600261432</c:v>
                </c:pt>
                <c:pt idx="3">
                  <c:v>0.011306773670647722</c:v>
                </c:pt>
                <c:pt idx="4">
                  <c:v>0.02401512947130609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038369655657733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814048782633611</c:v>
                </c:pt>
                <c:pt idx="1">
                  <c:v>0.007177752626536069</c:v>
                </c:pt>
                <c:pt idx="2">
                  <c:v>0.000573448521347828</c:v>
                </c:pt>
                <c:pt idx="3">
                  <c:v>0.08989732465997832</c:v>
                </c:pt>
                <c:pt idx="4">
                  <c:v>0.05066832334956951</c:v>
                </c:pt>
                <c:pt idx="5">
                  <c:v>0.006143530197421113</c:v>
                </c:pt>
                <c:pt idx="6">
                  <c:v>0.0374793486448628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5604092028460323</c:v>
                </c:pt>
                <c:pt idx="4">
                  <c:v>0.02636610466267174</c:v>
                </c:pt>
                <c:pt idx="6">
                  <c:v>0.01034829669305871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737010536083305</c:v>
                </c:pt>
                <c:pt idx="4">
                  <c:v>0.0055825799822491785</c:v>
                </c:pt>
                <c:pt idx="5">
                  <c:v>0.000899100797580036</c:v>
                </c:pt>
                <c:pt idx="6">
                  <c:v>0.00407764511364226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788333354923106</c:v>
                </c:pt>
                <c:pt idx="1">
                  <c:v>0.001056003417069332</c:v>
                </c:pt>
                <c:pt idx="3">
                  <c:v>0.014543217804460955</c:v>
                </c:pt>
                <c:pt idx="4">
                  <c:v>0.011682837317280767</c:v>
                </c:pt>
                <c:pt idx="6">
                  <c:v>0.00200681176036132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2769975664457417</c:v>
                </c:pt>
                <c:pt idx="4">
                  <c:v>0.01021754332247806</c:v>
                </c:pt>
                <c:pt idx="6">
                  <c:v>0.00165358451872864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826398673046111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8263986730461116</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419235138340387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788333354923106</c:v>
                </c:pt>
                <c:pt idx="1">
                  <c:v>0.001056003417069332</c:v>
                </c:pt>
                <c:pt idx="3">
                  <c:v>0.014543217804460955</c:v>
                </c:pt>
                <c:pt idx="4">
                  <c:v>0.011682837317280767</c:v>
                </c:pt>
                <c:pt idx="6">
                  <c:v>0.00200681176036132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3559934291389</c:v>
                </c:pt>
                <c:pt idx="1">
                  <c:v>0.0005857707125982753</c:v>
                </c:pt>
                <c:pt idx="3">
                  <c:v>0.001434406439995293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4776040020561296</c:v>
                </c:pt>
                <c:pt idx="3">
                  <c:v>0.010871600052404574</c:v>
                </c:pt>
                <c:pt idx="4">
                  <c:v>0.000507503916323205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423267323889755</c:v>
                </c:pt>
                <c:pt idx="1">
                  <c:v>0.0024024277717245254</c:v>
                </c:pt>
                <c:pt idx="2">
                  <c:v>0.0013201395352168013</c:v>
                </c:pt>
                <c:pt idx="3">
                  <c:v>0.006218632733252769</c:v>
                </c:pt>
                <c:pt idx="6">
                  <c:v>0.001206002214760196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0456334836653822</c:v>
                </c:pt>
                <c:pt idx="1">
                  <c:v>0.09681313922933481</c:v>
                </c:pt>
                <c:pt idx="2">
                  <c:v>0.016606872547117214</c:v>
                </c:pt>
                <c:pt idx="3">
                  <c:v>0.10344013130541291</c:v>
                </c:pt>
                <c:pt idx="4">
                  <c:v>0.09222090070953905</c:v>
                </c:pt>
                <c:pt idx="5">
                  <c:v>0.01275930674527211</c:v>
                </c:pt>
                <c:pt idx="6">
                  <c:v>0.0478053906407422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441913978661806</c:v>
                </c:pt>
                <c:pt idx="4">
                  <c:v>0.019827930251115157</c:v>
                </c:pt>
                <c:pt idx="5">
                  <c:v>0.000909663859577165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363874943381487</c:v>
                </c:pt>
                <c:pt idx="1">
                  <c:v>0.057657400011245044</c:v>
                </c:pt>
                <c:pt idx="2">
                  <c:v>0.0014874532150098297</c:v>
                </c:pt>
                <c:pt idx="3">
                  <c:v>0.005149717907091162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22769827876741</c:v>
                </c:pt>
                <c:pt idx="1">
                  <c:v>0.0369063784907046</c:v>
                </c:pt>
                <c:pt idx="2">
                  <c:v>0.01469369369347944</c:v>
                </c:pt>
                <c:pt idx="3">
                  <c:v>0.02905538278038727</c:v>
                </c:pt>
                <c:pt idx="4">
                  <c:v>0.006272788917749913</c:v>
                </c:pt>
                <c:pt idx="5">
                  <c:v>0.000608355311888414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18471456185698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9507100743556775</c:v>
                </c:pt>
                <c:pt idx="1">
                  <c:v>0.006968644127357535</c:v>
                </c:pt>
                <c:pt idx="2">
                  <c:v>0.0014814864099334396</c:v>
                </c:pt>
                <c:pt idx="3">
                  <c:v>0.09999725176109618</c:v>
                </c:pt>
                <c:pt idx="4">
                  <c:v>0.04774705746885949</c:v>
                </c:pt>
                <c:pt idx="5">
                  <c:v>0.0033892350960328752</c:v>
                </c:pt>
                <c:pt idx="6">
                  <c:v>0.0365797590054546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736938524562122</c:v>
                </c:pt>
                <c:pt idx="4">
                  <c:v>0.00529290500109491</c:v>
                </c:pt>
                <c:pt idx="5">
                  <c:v>0.0007292380934529008</c:v>
                </c:pt>
                <c:pt idx="6">
                  <c:v>0.00441005595122027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5603259626498567</c:v>
                </c:pt>
                <c:pt idx="1">
                  <c:v>0.0010080369627206757</c:v>
                </c:pt>
                <c:pt idx="3">
                  <c:v>0.018483768771631093</c:v>
                </c:pt>
                <c:pt idx="4">
                  <c:v>0.00869336164130854</c:v>
                </c:pt>
                <c:pt idx="5">
                  <c:v>0.0006457682932822407</c:v>
                </c:pt>
                <c:pt idx="6">
                  <c:v>0.002111558195122715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628355682414531</c:v>
                </c:pt>
                <c:pt idx="4">
                  <c:v>0.007453048198932856</c:v>
                </c:pt>
                <c:pt idx="6">
                  <c:v>0.0017822846203597257</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05301930891949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053019308919493</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2572328936981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7782110965795405</c:v>
                </c:pt>
                <c:pt idx="1">
                  <c:v>0.0006278440958889749</c:v>
                </c:pt>
                <c:pt idx="3">
                  <c:v>0.001578818973450245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5135758336347641</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6997414656329674</c:v>
                </c:pt>
                <c:pt idx="3">
                  <c:v>0.011623743383499426</c:v>
                </c:pt>
                <c:pt idx="4">
                  <c:v>0.000649367793765583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151786723656985</c:v>
                </c:pt>
                <c:pt idx="1">
                  <c:v>0.0026750225363812107</c:v>
                </c:pt>
                <c:pt idx="2">
                  <c:v>0.0039886695455593904</c:v>
                </c:pt>
                <c:pt idx="3">
                  <c:v>0.006988313998402816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7379130675690144</c:v>
                </c:pt>
                <c:pt idx="1">
                  <c:v>0.12808853947913248</c:v>
                </c:pt>
                <c:pt idx="2">
                  <c:v>0.02742454756109629</c:v>
                </c:pt>
                <c:pt idx="3">
                  <c:v>0.0945536298458022</c:v>
                </c:pt>
                <c:pt idx="4">
                  <c:v>0.018176032183792098</c:v>
                </c:pt>
                <c:pt idx="5">
                  <c:v>0.010397095978224717</c:v>
                </c:pt>
                <c:pt idx="6">
                  <c:v>0.01502161276254920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799933370777168</c:v>
                </c:pt>
                <c:pt idx="4">
                  <c:v>0.0013872786045700958</c:v>
                </c:pt>
                <c:pt idx="5">
                  <c:v>0.000580212558575116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7064824900538665</c:v>
                </c:pt>
                <c:pt idx="1">
                  <c:v>0.084434574974976</c:v>
                </c:pt>
                <c:pt idx="2">
                  <c:v>0.0016830470478582176</c:v>
                </c:pt>
                <c:pt idx="3">
                  <c:v>0.00354042454711978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508379486526373</c:v>
                </c:pt>
                <c:pt idx="1">
                  <c:v>0.04287427523576923</c:v>
                </c:pt>
                <c:pt idx="2">
                  <c:v>0.025511814446155082</c:v>
                </c:pt>
                <c:pt idx="3">
                  <c:v>0.01825898922650640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94146862220511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826398673046111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0772908330271728</c:v>
                </c:pt>
                <c:pt idx="1">
                  <c:v>0.010528918764285095</c:v>
                </c:pt>
                <c:pt idx="2">
                  <c:v>0.0010146026780244518</c:v>
                </c:pt>
                <c:pt idx="3">
                  <c:v>0.06522068989591397</c:v>
                </c:pt>
                <c:pt idx="4">
                  <c:v>0.009184634565482989</c:v>
                </c:pt>
                <c:pt idx="5">
                  <c:v>0.0020917352759828294</c:v>
                </c:pt>
                <c:pt idx="6">
                  <c:v>0.01923615632402704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520849754249602</c:v>
                </c:pt>
                <c:pt idx="6">
                  <c:v>0.003824065415900263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9111206312767911</c:v>
                </c:pt>
                <c:pt idx="1">
                  <c:v>0.0013061891474250122</c:v>
                </c:pt>
                <c:pt idx="3">
                  <c:v>0.012752655048207</c:v>
                </c:pt>
                <c:pt idx="4">
                  <c:v>0.0009597208230251612</c:v>
                </c:pt>
                <c:pt idx="6">
                  <c:v>0.002250285852417583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918223774580159</c:v>
                </c:pt>
                <c:pt idx="6">
                  <c:v>0.0021099917860781044</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363083861289606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29633614936349</c:v>
                </c:pt>
                <c:pt idx="1">
                  <c:v>0.001101709245264650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002078019180416</c:v>
                </c:pt>
                <c:pt idx="2">
                  <c:v>0.006489823409914832</c:v>
                </c:pt>
                <c:pt idx="3">
                  <c:v>0.01597613969082372</c:v>
                </c:pt>
                <c:pt idx="4">
                  <c:v>0.001217644823852454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419235138340387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994443774636231</c:v>
                </c:pt>
                <c:pt idx="3">
                  <c:v>0.0569581321814157</c:v>
                </c:pt>
                <c:pt idx="4">
                  <c:v>0.1257633985070467</c:v>
                </c:pt>
                <c:pt idx="5">
                  <c:v>0.3704427785148327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3103017895156547</c:v>
                </c:pt>
                <c:pt idx="3">
                  <c:v>0.006468006781349359</c:v>
                </c:pt>
                <c:pt idx="4">
                  <c:v>0.04141388277572531</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756453180765693</c:v>
                </c:pt>
                <c:pt idx="1">
                  <c:v>0.0010198723712085084</c:v>
                </c:pt>
                <c:pt idx="2">
                  <c:v>0.0009882569425762756</c:v>
                </c:pt>
                <c:pt idx="3">
                  <c:v>0.006439302998643149</c:v>
                </c:pt>
                <c:pt idx="6">
                  <c:v>0.001183661287883805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3545514744775011</c:v>
                </c:pt>
                <c:pt idx="3">
                  <c:v>0.03982482817424528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1">
                  <c:v>0.0008635871429484475</c:v>
                </c:pt>
                <c:pt idx="2">
                  <c:v>0.035874493491339275</c:v>
                </c:pt>
                <c:pt idx="3">
                  <c:v>0.017777024720072254</c:v>
                </c:pt>
                <c:pt idx="4">
                  <c:v>0.02025591798164293</c:v>
                </c:pt>
                <c:pt idx="5">
                  <c:v>0.1393300469199988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6032822056444911</c:v>
                </c:pt>
                <c:pt idx="5">
                  <c:v>0.008006433456912284</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7387488112012431</c:v>
                </c:pt>
                <c:pt idx="3">
                  <c:v>0.003874771805296088</c:v>
                </c:pt>
                <c:pt idx="4">
                  <c:v>0.01239203265656815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3559934291389</c:v>
                </c:pt>
                <c:pt idx="1">
                  <c:v>0.0005857707125982753</c:v>
                </c:pt>
                <c:pt idx="3">
                  <c:v>0.001434406439995293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030627780695943</c:v>
                </c:pt>
                <c:pt idx="3">
                  <c:v>0.003874771805296088</c:v>
                </c:pt>
                <c:pt idx="4">
                  <c:v>0.010331607728287062</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616246226144931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642303689519077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22214049764099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6685021281286957</c:v>
                </c:pt>
                <c:pt idx="1">
                  <c:v>0.0033198298701778554</c:v>
                </c:pt>
                <c:pt idx="3">
                  <c:v>0.0026746285375653074</c:v>
                </c:pt>
                <c:pt idx="6">
                  <c:v>0.002405102256020507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4776040020561296</c:v>
                </c:pt>
                <c:pt idx="3">
                  <c:v>0.010871600052404574</c:v>
                </c:pt>
                <c:pt idx="4">
                  <c:v>0.000507503916323205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469341826402195</c:v>
                </c:pt>
                <c:pt idx="1">
                  <c:v>0.035732132128109606</c:v>
                </c:pt>
                <c:pt idx="2">
                  <c:v>0.0037894436246744393</c:v>
                </c:pt>
                <c:pt idx="3">
                  <c:v>0.1242285101483969</c:v>
                </c:pt>
                <c:pt idx="4">
                  <c:v>0.17520871766380153</c:v>
                </c:pt>
                <c:pt idx="5">
                  <c:v>0.02094665840143566</c:v>
                </c:pt>
                <c:pt idx="6">
                  <c:v>0.0883224239811941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4061535813163321</c:v>
                </c:pt>
                <c:pt idx="4">
                  <c:v>0.037844182588252534</c:v>
                </c:pt>
                <c:pt idx="5">
                  <c:v>0.003040984758989031</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269802895854261</c:v>
                </c:pt>
                <c:pt idx="1">
                  <c:v>0.012176784650826286</c:v>
                </c:pt>
                <c:pt idx="2">
                  <c:v>0.009414593954931619</c:v>
                </c:pt>
                <c:pt idx="3">
                  <c:v>0.007378416277587449</c:v>
                </c:pt>
                <c:pt idx="4">
                  <c:v>0.000946524195995319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649972624438384</c:v>
                </c:pt>
                <c:pt idx="1">
                  <c:v>0.014159698108307701</c:v>
                </c:pt>
                <c:pt idx="2">
                  <c:v>0.0011889228820418714</c:v>
                </c:pt>
                <c:pt idx="3">
                  <c:v>0.028864327605883474</c:v>
                </c:pt>
                <c:pt idx="4">
                  <c:v>0.027938873510877312</c:v>
                </c:pt>
                <c:pt idx="5">
                  <c:v>0.002030697026302500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403371404015253</c:v>
                </c:pt>
                <c:pt idx="1">
                  <c:v>0.000969682164047972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68371768651792</c:v>
                </c:pt>
                <c:pt idx="1">
                  <c:v>0.0038101640462165354</c:v>
                </c:pt>
                <c:pt idx="2">
                  <c:v>0.0007376194409275995</c:v>
                </c:pt>
                <c:pt idx="3">
                  <c:v>0.1332974319316796</c:v>
                </c:pt>
                <c:pt idx="4">
                  <c:v>0.10900179073142006</c:v>
                </c:pt>
                <c:pt idx="5">
                  <c:v>0.004992603820261742</c:v>
                </c:pt>
                <c:pt idx="6">
                  <c:v>0.057940590947443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3485002565013603</c:v>
                </c:pt>
                <c:pt idx="4">
                  <c:v>0.010414688021255282</c:v>
                </c:pt>
                <c:pt idx="5">
                  <c:v>0.001776176970225964</c:v>
                </c:pt>
                <c:pt idx="6">
                  <c:v>0.005173792650542541</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9136170475479</c:v>
                </c:pt>
                <c:pt idx="3">
                  <c:v>0.02010412300246637</c:v>
                </c:pt>
                <c:pt idx="4">
                  <c:v>0.023512487497173083</c:v>
                </c:pt>
                <c:pt idx="5">
                  <c:v>0.0016739078558821224</c:v>
                </c:pt>
                <c:pt idx="6">
                  <c:v>0.001928916059361950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857888059778217</c:v>
                </c:pt>
                <c:pt idx="4">
                  <c:v>0.02199167415278464</c:v>
                </c:pt>
                <c:pt idx="5">
                  <c:v>0.0016453196467810822</c:v>
                </c:pt>
                <c:pt idx="6">
                  <c:v>0.0013648933208662997</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191238987688108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19123898768810827</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5379902522438471</c:v>
                </c:pt>
                <c:pt idx="5">
                  <c:v>0.000701592248261095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675670709937795</c:v>
                </c:pt>
                <c:pt idx="3">
                  <c:v>0.003611446576499873</c:v>
                </c:pt>
                <c:pt idx="4">
                  <c:v>0.000613589800117000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819363122135761</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16655940100737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756453180765693</c:v>
                </c:pt>
                <c:pt idx="1">
                  <c:v>0.0010198723712085084</c:v>
                </c:pt>
                <c:pt idx="2">
                  <c:v>0.0009882569425762756</c:v>
                </c:pt>
                <c:pt idx="3">
                  <c:v>0.006439302998643149</c:v>
                </c:pt>
                <c:pt idx="6">
                  <c:v>0.001183661287883805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97759544050389</c:v>
                </c:pt>
                <c:pt idx="1">
                  <c:v>0.10363190951174818</c:v>
                </c:pt>
                <c:pt idx="2">
                  <c:v>0.022195908356193</c:v>
                </c:pt>
                <c:pt idx="3">
                  <c:v>0.09150721333509476</c:v>
                </c:pt>
                <c:pt idx="4">
                  <c:v>0.09279823346712605</c:v>
                </c:pt>
                <c:pt idx="5">
                  <c:v>0.01438726574746666</c:v>
                </c:pt>
                <c:pt idx="6">
                  <c:v>0.0611144686808016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44689826580363336</c:v>
                </c:pt>
                <c:pt idx="1">
                  <c:v>0.04926270966387391</c:v>
                </c:pt>
                <c:pt idx="2">
                  <c:v>0.0012879554269269262</c:v>
                </c:pt>
                <c:pt idx="3">
                  <c:v>0.004700701035666241</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961066768182297</c:v>
                </c:pt>
                <c:pt idx="1">
                  <c:v>0.05392722620839848</c:v>
                </c:pt>
                <c:pt idx="2">
                  <c:v>0.016591884600261432</c:v>
                </c:pt>
                <c:pt idx="3">
                  <c:v>0.011306773670647722</c:v>
                </c:pt>
                <c:pt idx="4">
                  <c:v>0.02401512947130609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038369655657733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814048782633611</c:v>
                </c:pt>
                <c:pt idx="1">
                  <c:v>0.007177752626536069</c:v>
                </c:pt>
                <c:pt idx="2">
                  <c:v>0.000573448521347828</c:v>
                </c:pt>
                <c:pt idx="3">
                  <c:v>0.08989732465997832</c:v>
                </c:pt>
                <c:pt idx="4">
                  <c:v>0.05066832334956951</c:v>
                </c:pt>
                <c:pt idx="5">
                  <c:v>0.006143530197421113</c:v>
                </c:pt>
                <c:pt idx="6">
                  <c:v>0.0374793486448628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6087383290716273</c:v>
                </c:pt>
                <c:pt idx="5">
                  <c:v>0.001709569977420109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788333354923106</c:v>
                </c:pt>
                <c:pt idx="1">
                  <c:v>0.001056003417069332</c:v>
                </c:pt>
                <c:pt idx="3">
                  <c:v>0.014543217804460955</c:v>
                </c:pt>
                <c:pt idx="4">
                  <c:v>0.011682837317280767</c:v>
                </c:pt>
                <c:pt idx="6">
                  <c:v>0.00200681176036132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41</c:v>
                </c:pt>
                <c:pt idx="4">
                  <c:v>0.18575803512433944</c:v>
                </c:pt>
                <c:pt idx="5">
                  <c:v>0.023528004007038382</c:v>
                </c:pt>
                <c:pt idx="6">
                  <c:v>0.1100792714815848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8</c:v>
                </c:pt>
                <c:pt idx="1">
                  <c:v>0.21727502818623307</c:v>
                </c:pt>
                <c:pt idx="2">
                  <c:v>0.045455376274161234</c:v>
                </c:pt>
                <c:pt idx="3">
                  <c:v>0.23071033091784018</c:v>
                </c:pt>
                <c:pt idx="4">
                  <c:v>0.18360819686882338</c:v>
                </c:pt>
                <c:pt idx="5">
                  <c:v>0.02243806510617429</c:v>
                </c:pt>
                <c:pt idx="6">
                  <c:v>0.101910158591319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826398673046111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419235138340387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423267323889755</c:v>
                </c:pt>
                <c:pt idx="1">
                  <c:v>0.0024024277717245254</c:v>
                </c:pt>
                <c:pt idx="2">
                  <c:v>0.0013201395352168013</c:v>
                </c:pt>
                <c:pt idx="3">
                  <c:v>0.006218632733252769</c:v>
                </c:pt>
                <c:pt idx="6">
                  <c:v>0.001206002214760196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3559934291389</c:v>
                </c:pt>
                <c:pt idx="1">
                  <c:v>0.0005857707125982753</c:v>
                </c:pt>
                <c:pt idx="3">
                  <c:v>0.001434406439995293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4776040020561296</c:v>
                </c:pt>
                <c:pt idx="3">
                  <c:v>0.010871600052404574</c:v>
                </c:pt>
                <c:pt idx="4">
                  <c:v>0.000507503916323205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423267323889755</c:v>
                </c:pt>
                <c:pt idx="1">
                  <c:v>0.0024024277717245254</c:v>
                </c:pt>
                <c:pt idx="2">
                  <c:v>0.0013201395352168013</c:v>
                </c:pt>
                <c:pt idx="3">
                  <c:v>0.006218632733252769</c:v>
                </c:pt>
                <c:pt idx="6">
                  <c:v>0.001206002214760196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0456334836653822</c:v>
                </c:pt>
                <c:pt idx="1">
                  <c:v>0.09681313922933481</c:v>
                </c:pt>
                <c:pt idx="2">
                  <c:v>0.016606872547117214</c:v>
                </c:pt>
                <c:pt idx="3">
                  <c:v>0.10344013130541291</c:v>
                </c:pt>
                <c:pt idx="4">
                  <c:v>0.09222090070953905</c:v>
                </c:pt>
                <c:pt idx="5">
                  <c:v>0.01275930674527211</c:v>
                </c:pt>
                <c:pt idx="6">
                  <c:v>0.0478053906407422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363874943381487</c:v>
                </c:pt>
                <c:pt idx="1">
                  <c:v>0.057657400011245044</c:v>
                </c:pt>
                <c:pt idx="2">
                  <c:v>0.0014874532150098297</c:v>
                </c:pt>
                <c:pt idx="3">
                  <c:v>0.005149717907091162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22769827876741</c:v>
                </c:pt>
                <c:pt idx="1">
                  <c:v>0.0369063784907046</c:v>
                </c:pt>
                <c:pt idx="2">
                  <c:v>0.01469369369347944</c:v>
                </c:pt>
                <c:pt idx="3">
                  <c:v>0.02905538278038727</c:v>
                </c:pt>
                <c:pt idx="4">
                  <c:v>0.006272788917749913</c:v>
                </c:pt>
                <c:pt idx="5">
                  <c:v>0.000608355311888414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18471456185698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9507100743556775</c:v>
                </c:pt>
                <c:pt idx="1">
                  <c:v>0.006968644127357535</c:v>
                </c:pt>
                <c:pt idx="2">
                  <c:v>0.0014814864099334396</c:v>
                </c:pt>
                <c:pt idx="3">
                  <c:v>0.09999725176109618</c:v>
                </c:pt>
                <c:pt idx="4">
                  <c:v>0.04774705746885949</c:v>
                </c:pt>
                <c:pt idx="5">
                  <c:v>0.0033892350960328752</c:v>
                </c:pt>
                <c:pt idx="6">
                  <c:v>0.0365797590054546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11835232992679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5603259626498567</c:v>
                </c:pt>
                <c:pt idx="1">
                  <c:v>0.0010080369627206757</c:v>
                </c:pt>
                <c:pt idx="3">
                  <c:v>0.018483768771631093</c:v>
                </c:pt>
                <c:pt idx="4">
                  <c:v>0.00869336164130854</c:v>
                </c:pt>
                <c:pt idx="5">
                  <c:v>0.0006457682932822407</c:v>
                </c:pt>
                <c:pt idx="6">
                  <c:v>0.002111558195122715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05301930891949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2572328936981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7782110965795405</c:v>
                </c:pt>
                <c:pt idx="1">
                  <c:v>0.0006278440958889749</c:v>
                </c:pt>
                <c:pt idx="3">
                  <c:v>0.001578818973450245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6997414656329674</c:v>
                </c:pt>
                <c:pt idx="3">
                  <c:v>0.011623743383499426</c:v>
                </c:pt>
                <c:pt idx="4">
                  <c:v>0.000649367793765583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0456334836653822</c:v>
                </c:pt>
                <c:pt idx="1">
                  <c:v>0.09681313922933481</c:v>
                </c:pt>
                <c:pt idx="2">
                  <c:v>0.016606872547117214</c:v>
                </c:pt>
                <c:pt idx="3">
                  <c:v>0.10344013130541291</c:v>
                </c:pt>
                <c:pt idx="4">
                  <c:v>0.09222090070953905</c:v>
                </c:pt>
                <c:pt idx="5">
                  <c:v>0.01275930674527211</c:v>
                </c:pt>
                <c:pt idx="6">
                  <c:v>0.0478053906407422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151786723656985</c:v>
                </c:pt>
                <c:pt idx="1">
                  <c:v>0.0026750225363812107</c:v>
                </c:pt>
                <c:pt idx="2">
                  <c:v>0.0039886695455593904</c:v>
                </c:pt>
                <c:pt idx="3">
                  <c:v>0.006988313998402816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7379130675690144</c:v>
                </c:pt>
                <c:pt idx="1">
                  <c:v>0.12808853947913248</c:v>
                </c:pt>
                <c:pt idx="2">
                  <c:v>0.02742454756109629</c:v>
                </c:pt>
                <c:pt idx="3">
                  <c:v>0.0945536298458022</c:v>
                </c:pt>
                <c:pt idx="4">
                  <c:v>0.018176032183792098</c:v>
                </c:pt>
                <c:pt idx="5">
                  <c:v>0.010397095978224717</c:v>
                </c:pt>
                <c:pt idx="6">
                  <c:v>0.01502161276254920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967765896803927</c:v>
                </c:pt>
                <c:pt idx="4">
                  <c:v>0.013194438089904602</c:v>
                </c:pt>
                <c:pt idx="5">
                  <c:v>0.0005201150893904329</c:v>
                </c:pt>
                <c:pt idx="6">
                  <c:v>0.00465182431225090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7064824900538665</c:v>
                </c:pt>
                <c:pt idx="1">
                  <c:v>0.084434574974976</c:v>
                </c:pt>
                <c:pt idx="2">
                  <c:v>0.0016830470478582176</c:v>
                </c:pt>
                <c:pt idx="3">
                  <c:v>0.00354042454711978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508379486526373</c:v>
                </c:pt>
                <c:pt idx="1">
                  <c:v>0.04287427523576923</c:v>
                </c:pt>
                <c:pt idx="2">
                  <c:v>0.025511814446155082</c:v>
                </c:pt>
                <c:pt idx="3">
                  <c:v>0.01825898922650640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94146862220511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0772908330271728</c:v>
                </c:pt>
                <c:pt idx="1">
                  <c:v>0.010528918764285095</c:v>
                </c:pt>
                <c:pt idx="2">
                  <c:v>0.0010146026780244518</c:v>
                </c:pt>
                <c:pt idx="3">
                  <c:v>0.06522068989591397</c:v>
                </c:pt>
                <c:pt idx="4">
                  <c:v>0.009184634565482989</c:v>
                </c:pt>
                <c:pt idx="5">
                  <c:v>0.0020917352759828294</c:v>
                </c:pt>
                <c:pt idx="6">
                  <c:v>0.01923615632402704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9111206312767911</c:v>
                </c:pt>
                <c:pt idx="1">
                  <c:v>0.0013061891474250122</c:v>
                </c:pt>
                <c:pt idx="3">
                  <c:v>0.012752655048207</c:v>
                </c:pt>
                <c:pt idx="4">
                  <c:v>0.0009597208230251612</c:v>
                </c:pt>
                <c:pt idx="6">
                  <c:v>0.002250285852417583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363083861289606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29633614936349</c:v>
                </c:pt>
                <c:pt idx="1">
                  <c:v>0.001101709245264650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002078019180416</c:v>
                </c:pt>
                <c:pt idx="2">
                  <c:v>0.006489823409914832</c:v>
                </c:pt>
                <c:pt idx="3">
                  <c:v>0.01597613969082372</c:v>
                </c:pt>
                <c:pt idx="4">
                  <c:v>0.001217644823852454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363874943381487</c:v>
                </c:pt>
                <c:pt idx="1">
                  <c:v>0.057657400011245044</c:v>
                </c:pt>
                <c:pt idx="2">
                  <c:v>0.0014874532150098297</c:v>
                </c:pt>
                <c:pt idx="3">
                  <c:v>0.005149717907091162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994443774636231</c:v>
                </c:pt>
                <c:pt idx="3">
                  <c:v>0.0569581321814157</c:v>
                </c:pt>
                <c:pt idx="4">
                  <c:v>0.1257633985070467</c:v>
                </c:pt>
                <c:pt idx="5">
                  <c:v>0.3704427785148327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3545514744775011</c:v>
                </c:pt>
                <c:pt idx="3">
                  <c:v>0.03982482817424528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1">
                  <c:v>0.0008635871429484475</c:v>
                </c:pt>
                <c:pt idx="2">
                  <c:v>0.035874493491339275</c:v>
                </c:pt>
                <c:pt idx="3">
                  <c:v>0.017777024720072254</c:v>
                </c:pt>
                <c:pt idx="4">
                  <c:v>0.02025591798164293</c:v>
                </c:pt>
                <c:pt idx="5">
                  <c:v>0.1393300469199988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7387488112012431</c:v>
                </c:pt>
                <c:pt idx="3">
                  <c:v>0.003874771805296088</c:v>
                </c:pt>
                <c:pt idx="4">
                  <c:v>0.01239203265656815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407711693623543</c:v>
                </c:pt>
                <c:pt idx="1">
                  <c:v>0.0008493697688871372</c:v>
                </c:pt>
                <c:pt idx="2">
                  <c:v>0.17522840497178355</c:v>
                </c:pt>
                <c:pt idx="3">
                  <c:v>0.11866978005458788</c:v>
                </c:pt>
                <c:pt idx="4">
                  <c:v>0.16003965190514902</c:v>
                </c:pt>
                <c:pt idx="5">
                  <c:v>0.533805081605968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01159866233758669</c:v>
                </c:pt>
                <c:pt idx="1">
                  <c:v>0.0008635871429484475</c:v>
                </c:pt>
                <c:pt idx="2">
                  <c:v>0.1781615065147249</c:v>
                </c:pt>
                <c:pt idx="3">
                  <c:v>0.12065616185743926</c:v>
                </c:pt>
                <c:pt idx="4">
                  <c:v>0.1620275953714027</c:v>
                </c:pt>
                <c:pt idx="5">
                  <c:v>0.52669248677589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616246226144931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642303689519077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22214049764099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6685021281286957</c:v>
                </c:pt>
                <c:pt idx="1">
                  <c:v>0.0033198298701778554</c:v>
                </c:pt>
                <c:pt idx="3">
                  <c:v>0.0026746285375653074</c:v>
                </c:pt>
                <c:pt idx="6">
                  <c:v>0.002405102256020507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22769827876741</c:v>
                </c:pt>
                <c:pt idx="1">
                  <c:v>0.0369063784907046</c:v>
                </c:pt>
                <c:pt idx="2">
                  <c:v>0.01469369369347944</c:v>
                </c:pt>
                <c:pt idx="3">
                  <c:v>0.02905538278038727</c:v>
                </c:pt>
                <c:pt idx="4">
                  <c:v>0.006272788917749913</c:v>
                </c:pt>
                <c:pt idx="5">
                  <c:v>0.000608355311888414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469341826402195</c:v>
                </c:pt>
                <c:pt idx="1">
                  <c:v>0.035732132128109606</c:v>
                </c:pt>
                <c:pt idx="2">
                  <c:v>0.0037894436246744393</c:v>
                </c:pt>
                <c:pt idx="3">
                  <c:v>0.1242285101483969</c:v>
                </c:pt>
                <c:pt idx="4">
                  <c:v>0.17520871766380153</c:v>
                </c:pt>
                <c:pt idx="5">
                  <c:v>0.02094665840143566</c:v>
                </c:pt>
                <c:pt idx="6">
                  <c:v>0.0883224239811941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269802895854261</c:v>
                </c:pt>
                <c:pt idx="1">
                  <c:v>0.012176784650826286</c:v>
                </c:pt>
                <c:pt idx="2">
                  <c:v>0.009414593954931619</c:v>
                </c:pt>
                <c:pt idx="3">
                  <c:v>0.007378416277587449</c:v>
                </c:pt>
                <c:pt idx="4">
                  <c:v>0.000946524195995319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8649972624438384</c:v>
                </c:pt>
                <c:pt idx="1">
                  <c:v>0.014159698108307701</c:v>
                </c:pt>
                <c:pt idx="2">
                  <c:v>0.0011889228820418714</c:v>
                </c:pt>
                <c:pt idx="3">
                  <c:v>0.028864327605883474</c:v>
                </c:pt>
                <c:pt idx="4">
                  <c:v>0.027938873510877312</c:v>
                </c:pt>
                <c:pt idx="5">
                  <c:v>0.002030697026302500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403371404015253</c:v>
                </c:pt>
                <c:pt idx="1">
                  <c:v>0.000969682164047972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68371768651792</c:v>
                </c:pt>
                <c:pt idx="1">
                  <c:v>0.0038101640462165354</c:v>
                </c:pt>
                <c:pt idx="2">
                  <c:v>0.0007376194409275995</c:v>
                </c:pt>
                <c:pt idx="3">
                  <c:v>0.1332974319316796</c:v>
                </c:pt>
                <c:pt idx="4">
                  <c:v>0.10900179073142006</c:v>
                </c:pt>
                <c:pt idx="5">
                  <c:v>0.004992603820261742</c:v>
                </c:pt>
                <c:pt idx="6">
                  <c:v>0.0579405909474433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692069353859459</c:v>
                </c:pt>
                <c:pt idx="5">
                  <c:v>0.0009700828915894987</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9136170475479</c:v>
                </c:pt>
                <c:pt idx="3">
                  <c:v>0.02010412300246637</c:v>
                </c:pt>
                <c:pt idx="4">
                  <c:v>0.023512487497173083</c:v>
                </c:pt>
                <c:pt idx="5">
                  <c:v>0.0016739078558821224</c:v>
                </c:pt>
                <c:pt idx="6">
                  <c:v>0.001928916059361950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3</c:v>
                </c:pt>
                <c:pt idx="1">
                  <c:v>0.06983355347252945</c:v>
                </c:pt>
                <c:pt idx="2">
                  <c:v>0.0163764700442233</c:v>
                </c:pt>
                <c:pt idx="3">
                  <c:v>0.3190266034168615</c:v>
                </c:pt>
                <c:pt idx="4">
                  <c:v>0.3389449232189925</c:v>
                </c:pt>
                <c:pt idx="5">
                  <c:v>0.03479636360013413</c:v>
                </c:pt>
                <c:pt idx="6">
                  <c:v>0.161366343032767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118471456185698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c:v>
                </c:pt>
                <c:pt idx="1">
                  <c:v>0.0707853775622736</c:v>
                </c:pt>
                <c:pt idx="2">
                  <c:v>0.015553589937334278</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191238987688108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5379902522438471</c:v>
                </c:pt>
                <c:pt idx="5">
                  <c:v>0.000701592248261095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675670709937795</c:v>
                </c:pt>
                <c:pt idx="3">
                  <c:v>0.003611446576499873</c:v>
                </c:pt>
                <c:pt idx="4">
                  <c:v>0.000613589800117000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16655940100737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9507100743556775</c:v>
                </c:pt>
                <c:pt idx="1">
                  <c:v>0.006968644127357535</c:v>
                </c:pt>
                <c:pt idx="2">
                  <c:v>0.0014814864099334396</c:v>
                </c:pt>
                <c:pt idx="3">
                  <c:v>0.09999725176109618</c:v>
                </c:pt>
                <c:pt idx="4">
                  <c:v>0.04774705746885949</c:v>
                </c:pt>
                <c:pt idx="5">
                  <c:v>0.0033892350960328752</c:v>
                </c:pt>
                <c:pt idx="6">
                  <c:v>0.0365797590054546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0579475636772584</c:v>
                </c:pt>
                <c:pt idx="4">
                  <c:v>0.024415023429761387</c:v>
                </c:pt>
                <c:pt idx="6">
                  <c:v>0.011207887342970969</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5603259626498567</c:v>
                </c:pt>
                <c:pt idx="1">
                  <c:v>0.0010080369627206757</c:v>
                </c:pt>
                <c:pt idx="3">
                  <c:v>0.018483768771631093</c:v>
                </c:pt>
                <c:pt idx="4">
                  <c:v>0.00869336164130854</c:v>
                </c:pt>
                <c:pt idx="5">
                  <c:v>0.0006457682932822407</c:v>
                </c:pt>
                <c:pt idx="6">
                  <c:v>0.002111558195122715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4</c:v>
                </c:pt>
                <c:pt idx="2">
                  <c:v>0.038661870444256057</c:v>
                </c:pt>
                <c:pt idx="3">
                  <c:v>0.26687425042330093</c:v>
                </c:pt>
                <c:pt idx="4">
                  <c:v>0.16205945981518768</c:v>
                </c:pt>
                <c:pt idx="5">
                  <c:v>0.020166137495994756</c:v>
                </c:pt>
                <c:pt idx="6">
                  <c:v>0.097334769908009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5</c:v>
                </c:pt>
                <c:pt idx="1">
                  <c:v>0.20313119777623</c:v>
                </c:pt>
                <c:pt idx="2">
                  <c:v>0.03964217708438046</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05301930891949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2572328936981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7782110965795405</c:v>
                </c:pt>
                <c:pt idx="1">
                  <c:v>0.0006278440958889749</c:v>
                </c:pt>
                <c:pt idx="3">
                  <c:v>0.001578818973450245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6997414656329674</c:v>
                </c:pt>
                <c:pt idx="3">
                  <c:v>0.011623743383499426</c:v>
                </c:pt>
                <c:pt idx="4">
                  <c:v>0.000649367793765583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97759544050389</c:v>
                </c:pt>
                <c:pt idx="1">
                  <c:v>0.10363190951174818</c:v>
                </c:pt>
                <c:pt idx="2">
                  <c:v>0.022195908356193</c:v>
                </c:pt>
                <c:pt idx="3">
                  <c:v>0.09150721333509476</c:v>
                </c:pt>
                <c:pt idx="4">
                  <c:v>0.09279823346712605</c:v>
                </c:pt>
                <c:pt idx="5">
                  <c:v>0.01438726574746666</c:v>
                </c:pt>
                <c:pt idx="6">
                  <c:v>0.0611144686808016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151786723656985</c:v>
                </c:pt>
                <c:pt idx="1">
                  <c:v>0.0026750225363812107</c:v>
                </c:pt>
                <c:pt idx="2">
                  <c:v>0.0039886695455593904</c:v>
                </c:pt>
                <c:pt idx="3">
                  <c:v>0.006988313998402816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7379130675690144</c:v>
                </c:pt>
                <c:pt idx="1">
                  <c:v>0.12808853947913248</c:v>
                </c:pt>
                <c:pt idx="2">
                  <c:v>0.02742454756109629</c:v>
                </c:pt>
                <c:pt idx="3">
                  <c:v>0.0945536298458022</c:v>
                </c:pt>
                <c:pt idx="4">
                  <c:v>0.018176032183792098</c:v>
                </c:pt>
                <c:pt idx="5">
                  <c:v>0.010397095978224717</c:v>
                </c:pt>
                <c:pt idx="6">
                  <c:v>0.01502161276254920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315134738949326</c:v>
                </c:pt>
                <c:pt idx="4">
                  <c:v>0.013606612162801084</c:v>
                </c:pt>
                <c:pt idx="5">
                  <c:v>0.0010581399557963805</c:v>
                </c:pt>
                <c:pt idx="6">
                  <c:v>0.004247078869979969</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901744093682509</c:v>
                </c:pt>
                <c:pt idx="4">
                  <c:v>0.005571155522388026</c:v>
                </c:pt>
                <c:pt idx="5">
                  <c:v>0.0008099560360672118</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7064824900538665</c:v>
                </c:pt>
                <c:pt idx="1">
                  <c:v>0.084434574974976</c:v>
                </c:pt>
                <c:pt idx="2">
                  <c:v>0.0016830470478582176</c:v>
                </c:pt>
                <c:pt idx="3">
                  <c:v>0.00354042454711978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508379486526373</c:v>
                </c:pt>
                <c:pt idx="1">
                  <c:v>0.04287427523576923</c:v>
                </c:pt>
                <c:pt idx="2">
                  <c:v>0.025511814446155082</c:v>
                </c:pt>
                <c:pt idx="3">
                  <c:v>0.01825898922650640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94146862220511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30772908330271728</c:v>
                </c:pt>
                <c:pt idx="1">
                  <c:v>0.010528918764285095</c:v>
                </c:pt>
                <c:pt idx="2">
                  <c:v>0.0010146026780244518</c:v>
                </c:pt>
                <c:pt idx="3">
                  <c:v>0.06522068989591397</c:v>
                </c:pt>
                <c:pt idx="4">
                  <c:v>0.009184634565482989</c:v>
                </c:pt>
                <c:pt idx="5">
                  <c:v>0.0020917352759828294</c:v>
                </c:pt>
                <c:pt idx="6">
                  <c:v>0.01923615632402704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3351328957217077</c:v>
                </c:pt>
                <c:pt idx="4">
                  <c:v>0.005422137070748436</c:v>
                </c:pt>
                <c:pt idx="5">
                  <c:v>0.0007523694019676698</c:v>
                </c:pt>
                <c:pt idx="6">
                  <c:v>0.002251200924416616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9111206312767911</c:v>
                </c:pt>
                <c:pt idx="1">
                  <c:v>0.0013061891474250122</c:v>
                </c:pt>
                <c:pt idx="3">
                  <c:v>0.012752655048207</c:v>
                </c:pt>
                <c:pt idx="4">
                  <c:v>0.0009597208230251612</c:v>
                </c:pt>
                <c:pt idx="6">
                  <c:v>0.002250285852417583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399</c:v>
                </c:pt>
                <c:pt idx="3">
                  <c:v>0.2118980108288821</c:v>
                </c:pt>
                <c:pt idx="4">
                  <c:v>0.0348912720561147</c:v>
                </c:pt>
                <c:pt idx="5">
                  <c:v>0.01477544887125599</c:v>
                </c:pt>
                <c:pt idx="6">
                  <c:v>0.0439110282318079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03</c:v>
                </c:pt>
                <c:pt idx="1">
                  <c:v>0.27146093098752233</c:v>
                </c:pt>
                <c:pt idx="2">
                  <c:v>0.06689162484511396</c:v>
                </c:pt>
                <c:pt idx="3">
                  <c:v>0.217436817453512</c:v>
                </c:pt>
                <c:pt idx="4">
                  <c:v>0.031078958228999067</c:v>
                </c:pt>
                <c:pt idx="5">
                  <c:v>0.013155685106098639</c:v>
                </c:pt>
                <c:pt idx="6">
                  <c:v>0.0367890109975120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1/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1/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3.xml"/><Relationship Id="rId7" Type="http://schemas.openxmlformats.org/officeDocument/2006/relationships/chart" Target="../charts/chart434.xml"/><Relationship Id="rId8" Type="http://schemas.openxmlformats.org/officeDocument/2006/relationships/chart" Target="../charts/chart435.xml"/><Relationship Id="rId9" Type="http://schemas.openxmlformats.org/officeDocument/2006/relationships/chart" Target="../charts/chart436.xml"/><Relationship Id="rId10" Type="http://schemas.openxmlformats.org/officeDocument/2006/relationships/chart" Target="../charts/chart437.xml"/><Relationship Id="rId11" Type="http://schemas.openxmlformats.org/officeDocument/2006/relationships/chart" Target="../charts/chart438.xml"/><Relationship Id="rId12" Type="http://schemas.openxmlformats.org/officeDocument/2006/relationships/chart" Target="../charts/chart439.xml"/><Relationship Id="rId13" Type="http://schemas.openxmlformats.org/officeDocument/2006/relationships/chart" Target="../charts/chart440.xml"/><Relationship Id="rId14" Type="http://schemas.openxmlformats.org/officeDocument/2006/relationships/chart" Target="../charts/chart441.xml"/><Relationship Id="rId15" Type="http://schemas.openxmlformats.org/officeDocument/2006/relationships/chart" Target="../charts/chart442.xml"/><Relationship Id="rId16" Type="http://schemas.openxmlformats.org/officeDocument/2006/relationships/chart" Target="../charts/chart443.xml"/><Relationship Id="rId17" Type="http://schemas.openxmlformats.org/officeDocument/2006/relationships/chart" Target="../charts/chart44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5.xml"/><Relationship Id="rId7" Type="http://schemas.openxmlformats.org/officeDocument/2006/relationships/chart" Target="../charts/chart446.xml"/><Relationship Id="rId8" Type="http://schemas.openxmlformats.org/officeDocument/2006/relationships/chart" Target="../charts/chart447.xml"/><Relationship Id="rId9" Type="http://schemas.openxmlformats.org/officeDocument/2006/relationships/chart" Target="../charts/chart448.xml"/><Relationship Id="rId10" Type="http://schemas.openxmlformats.org/officeDocument/2006/relationships/chart" Target="../charts/chart449.xml"/><Relationship Id="rId11" Type="http://schemas.openxmlformats.org/officeDocument/2006/relationships/chart" Target="../charts/chart450.xml"/><Relationship Id="rId12" Type="http://schemas.openxmlformats.org/officeDocument/2006/relationships/chart" Target="../charts/chart451.xml"/><Relationship Id="rId13" Type="http://schemas.openxmlformats.org/officeDocument/2006/relationships/chart" Target="../charts/chart452.xml"/><Relationship Id="rId14" Type="http://schemas.openxmlformats.org/officeDocument/2006/relationships/chart" Target="../charts/chart453.xml"/><Relationship Id="rId15" Type="http://schemas.openxmlformats.org/officeDocument/2006/relationships/chart" Target="../charts/chart454.xml"/><Relationship Id="rId16" Type="http://schemas.openxmlformats.org/officeDocument/2006/relationships/chart" Target="../charts/chart455.xml"/><Relationship Id="rId17" Type="http://schemas.openxmlformats.org/officeDocument/2006/relationships/chart" Target="../charts/chart45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7.xml"/><Relationship Id="rId7" Type="http://schemas.openxmlformats.org/officeDocument/2006/relationships/chart" Target="../charts/chart458.xml"/><Relationship Id="rId8" Type="http://schemas.openxmlformats.org/officeDocument/2006/relationships/chart" Target="../charts/chart459.xml"/><Relationship Id="rId9" Type="http://schemas.openxmlformats.org/officeDocument/2006/relationships/chart" Target="../charts/chart460.xml"/><Relationship Id="rId10" Type="http://schemas.openxmlformats.org/officeDocument/2006/relationships/chart" Target="../charts/chart461.xml"/><Relationship Id="rId11" Type="http://schemas.openxmlformats.org/officeDocument/2006/relationships/chart" Target="../charts/chart462.xml"/><Relationship Id="rId12" Type="http://schemas.openxmlformats.org/officeDocument/2006/relationships/chart" Target="../charts/chart463.xml"/><Relationship Id="rId13" Type="http://schemas.openxmlformats.org/officeDocument/2006/relationships/chart" Target="../charts/chart464.xml"/><Relationship Id="rId14" Type="http://schemas.openxmlformats.org/officeDocument/2006/relationships/chart" Target="../charts/chart465.xml"/><Relationship Id="rId15" Type="http://schemas.openxmlformats.org/officeDocument/2006/relationships/chart" Target="../charts/chart466.xml"/><Relationship Id="rId16" Type="http://schemas.openxmlformats.org/officeDocument/2006/relationships/chart" Target="../charts/chart467.xml"/><Relationship Id="rId17" Type="http://schemas.openxmlformats.org/officeDocument/2006/relationships/chart" Target="../charts/chart46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9.xml"/><Relationship Id="rId7" Type="http://schemas.openxmlformats.org/officeDocument/2006/relationships/chart" Target="../charts/chart470.xml"/><Relationship Id="rId8" Type="http://schemas.openxmlformats.org/officeDocument/2006/relationships/chart" Target="../charts/chart471.xml"/><Relationship Id="rId9" Type="http://schemas.openxmlformats.org/officeDocument/2006/relationships/chart" Target="../charts/chart472.xml"/><Relationship Id="rId10" Type="http://schemas.openxmlformats.org/officeDocument/2006/relationships/chart" Target="../charts/chart473.xml"/><Relationship Id="rId11" Type="http://schemas.openxmlformats.org/officeDocument/2006/relationships/chart" Target="../charts/chart474.xml"/><Relationship Id="rId12" Type="http://schemas.openxmlformats.org/officeDocument/2006/relationships/chart" Target="../charts/chart475.xml"/><Relationship Id="rId13" Type="http://schemas.openxmlformats.org/officeDocument/2006/relationships/chart" Target="../charts/chart476.xml"/><Relationship Id="rId14" Type="http://schemas.openxmlformats.org/officeDocument/2006/relationships/chart" Target="../charts/chart477.xml"/><Relationship Id="rId15" Type="http://schemas.openxmlformats.org/officeDocument/2006/relationships/chart" Target="../charts/chart478.xml"/><Relationship Id="rId16" Type="http://schemas.openxmlformats.org/officeDocument/2006/relationships/chart" Target="../charts/chart479.xml"/><Relationship Id="rId17" Type="http://schemas.openxmlformats.org/officeDocument/2006/relationships/chart" Target="../charts/chart4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1.xml"/><Relationship Id="rId7" Type="http://schemas.openxmlformats.org/officeDocument/2006/relationships/chart" Target="../charts/chart482.xml"/><Relationship Id="rId8" Type="http://schemas.openxmlformats.org/officeDocument/2006/relationships/chart" Target="../charts/chart483.xml"/><Relationship Id="rId9" Type="http://schemas.openxmlformats.org/officeDocument/2006/relationships/chart" Target="../charts/chart484.xml"/><Relationship Id="rId10" Type="http://schemas.openxmlformats.org/officeDocument/2006/relationships/chart" Target="../charts/chart485.xml"/><Relationship Id="rId11" Type="http://schemas.openxmlformats.org/officeDocument/2006/relationships/chart" Target="../charts/chart486.xml"/><Relationship Id="rId12" Type="http://schemas.openxmlformats.org/officeDocument/2006/relationships/chart" Target="../charts/chart487.xml"/><Relationship Id="rId13" Type="http://schemas.openxmlformats.org/officeDocument/2006/relationships/chart" Target="../charts/chart488.xml"/><Relationship Id="rId14" Type="http://schemas.openxmlformats.org/officeDocument/2006/relationships/chart" Target="../charts/chart489.xml"/><Relationship Id="rId15" Type="http://schemas.openxmlformats.org/officeDocument/2006/relationships/chart" Target="../charts/chart490.xml"/><Relationship Id="rId16" Type="http://schemas.openxmlformats.org/officeDocument/2006/relationships/chart" Target="../charts/chart491.xml"/><Relationship Id="rId17" Type="http://schemas.openxmlformats.org/officeDocument/2006/relationships/chart" Target="../charts/chart49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3.xml"/><Relationship Id="rId7" Type="http://schemas.openxmlformats.org/officeDocument/2006/relationships/chart" Target="../charts/chart494.xml"/><Relationship Id="rId8" Type="http://schemas.openxmlformats.org/officeDocument/2006/relationships/chart" Target="../charts/chart495.xml"/><Relationship Id="rId9" Type="http://schemas.openxmlformats.org/officeDocument/2006/relationships/chart" Target="../charts/chart496.xml"/><Relationship Id="rId10" Type="http://schemas.openxmlformats.org/officeDocument/2006/relationships/chart" Target="../charts/chart497.xml"/><Relationship Id="rId11" Type="http://schemas.openxmlformats.org/officeDocument/2006/relationships/chart" Target="../charts/chart498.xml"/><Relationship Id="rId12" Type="http://schemas.openxmlformats.org/officeDocument/2006/relationships/chart" Target="../charts/chart499.xml"/><Relationship Id="rId13" Type="http://schemas.openxmlformats.org/officeDocument/2006/relationships/chart" Target="../charts/chart500.xml"/><Relationship Id="rId14" Type="http://schemas.openxmlformats.org/officeDocument/2006/relationships/chart" Target="../charts/chart501.xml"/><Relationship Id="rId15" Type="http://schemas.openxmlformats.org/officeDocument/2006/relationships/chart" Target="../charts/chart502.xml"/><Relationship Id="rId16" Type="http://schemas.openxmlformats.org/officeDocument/2006/relationships/chart" Target="../charts/chart503.xml"/><Relationship Id="rId17" Type="http://schemas.openxmlformats.org/officeDocument/2006/relationships/chart" Target="../charts/chart50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5.xml"/><Relationship Id="rId7" Type="http://schemas.openxmlformats.org/officeDocument/2006/relationships/chart" Target="../charts/chart506.xml"/><Relationship Id="rId8" Type="http://schemas.openxmlformats.org/officeDocument/2006/relationships/chart" Target="../charts/chart507.xml"/><Relationship Id="rId9" Type="http://schemas.openxmlformats.org/officeDocument/2006/relationships/chart" Target="../charts/chart508.xml"/><Relationship Id="rId10" Type="http://schemas.openxmlformats.org/officeDocument/2006/relationships/chart" Target="../charts/chart509.xml"/><Relationship Id="rId11" Type="http://schemas.openxmlformats.org/officeDocument/2006/relationships/chart" Target="../charts/chart510.xml"/><Relationship Id="rId12" Type="http://schemas.openxmlformats.org/officeDocument/2006/relationships/chart" Target="../charts/chart511.xml"/><Relationship Id="rId13" Type="http://schemas.openxmlformats.org/officeDocument/2006/relationships/chart" Target="../charts/chart512.xml"/><Relationship Id="rId14" Type="http://schemas.openxmlformats.org/officeDocument/2006/relationships/chart" Target="../charts/chart513.xml"/><Relationship Id="rId15" Type="http://schemas.openxmlformats.org/officeDocument/2006/relationships/chart" Target="../charts/chart514.xml"/><Relationship Id="rId16" Type="http://schemas.openxmlformats.org/officeDocument/2006/relationships/chart" Target="../charts/chart515.xml"/><Relationship Id="rId17" Type="http://schemas.openxmlformats.org/officeDocument/2006/relationships/chart" Target="../charts/chart51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7.xml"/><Relationship Id="rId7" Type="http://schemas.openxmlformats.org/officeDocument/2006/relationships/chart" Target="../charts/chart518.xml"/><Relationship Id="rId8" Type="http://schemas.openxmlformats.org/officeDocument/2006/relationships/chart" Target="../charts/chart519.xml"/><Relationship Id="rId9" Type="http://schemas.openxmlformats.org/officeDocument/2006/relationships/chart" Target="../charts/chart520.xml"/><Relationship Id="rId10" Type="http://schemas.openxmlformats.org/officeDocument/2006/relationships/chart" Target="../charts/chart521.xml"/><Relationship Id="rId11" Type="http://schemas.openxmlformats.org/officeDocument/2006/relationships/chart" Target="../charts/chart522.xml"/><Relationship Id="rId12" Type="http://schemas.openxmlformats.org/officeDocument/2006/relationships/chart" Target="../charts/chart523.xml"/><Relationship Id="rId13" Type="http://schemas.openxmlformats.org/officeDocument/2006/relationships/chart" Target="../charts/chart524.xml"/><Relationship Id="rId14" Type="http://schemas.openxmlformats.org/officeDocument/2006/relationships/chart" Target="../charts/chart525.xml"/><Relationship Id="rId15" Type="http://schemas.openxmlformats.org/officeDocument/2006/relationships/chart" Target="../charts/chart526.xml"/><Relationship Id="rId16" Type="http://schemas.openxmlformats.org/officeDocument/2006/relationships/chart" Target="../charts/chart527.xml"/><Relationship Id="rId17" Type="http://schemas.openxmlformats.org/officeDocument/2006/relationships/chart" Target="../charts/chart52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9.xml"/><Relationship Id="rId7" Type="http://schemas.openxmlformats.org/officeDocument/2006/relationships/chart" Target="../charts/chart530.xml"/><Relationship Id="rId8" Type="http://schemas.openxmlformats.org/officeDocument/2006/relationships/chart" Target="../charts/chart531.xml"/><Relationship Id="rId9" Type="http://schemas.openxmlformats.org/officeDocument/2006/relationships/chart" Target="../charts/chart532.xml"/><Relationship Id="rId10" Type="http://schemas.openxmlformats.org/officeDocument/2006/relationships/chart" Target="../charts/chart533.xml"/><Relationship Id="rId11" Type="http://schemas.openxmlformats.org/officeDocument/2006/relationships/chart" Target="../charts/chart534.xml"/><Relationship Id="rId12" Type="http://schemas.openxmlformats.org/officeDocument/2006/relationships/chart" Target="../charts/chart535.xml"/><Relationship Id="rId13" Type="http://schemas.openxmlformats.org/officeDocument/2006/relationships/chart" Target="../charts/chart536.xml"/><Relationship Id="rId14" Type="http://schemas.openxmlformats.org/officeDocument/2006/relationships/chart" Target="../charts/chart537.xml"/><Relationship Id="rId15" Type="http://schemas.openxmlformats.org/officeDocument/2006/relationships/chart" Target="../charts/chart538.xml"/><Relationship Id="rId16" Type="http://schemas.openxmlformats.org/officeDocument/2006/relationships/chart" Target="../charts/chart539.xml"/><Relationship Id="rId17" Type="http://schemas.openxmlformats.org/officeDocument/2006/relationships/chart" Target="../charts/chart540.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614298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929485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8299129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16957582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0690145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5527798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8285953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365569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468700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12869031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944588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5784329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734149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5130321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495926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300092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2057766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779725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561039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9853494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015777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77305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9235377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anana Bo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anana Boa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1215188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479541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2752186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727528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8774432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323036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4484407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027314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9235095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0187207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225575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566183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986247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Tradicional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1"/>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9549">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9549">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99549">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99549">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99549">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99549">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1997286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716600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1540334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Autos Scanning | Beauty Care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eauty Care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993374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728911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nal Moderno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41789431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ce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Aeroso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Emuls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Fluido</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69237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Gel-Crem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iquido</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Loci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Mouss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9759730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onvenience + Farmacias Cad + Hard Discounters | Hawaiian Tropic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 Car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unscree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Roll-O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eru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pray</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unscreen Stick</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Hawaiian Tropic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650+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600-6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550-5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300-5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250-2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200-24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199.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42266063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TotalTime>
  <Words>6255</Words>
  <Application>Microsoft Office PowerPoint</Application>
  <PresentationFormat>On-screen Show (16:9)</PresentationFormat>
  <Paragraphs>1890</Paragraphs>
  <Slides>45</Slides>
  <Notes>4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6"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4</cp:revision>
  <dcterms:created xsi:type="dcterms:W3CDTF">2024-07-05T11:30:58Z</dcterms:created>
  <dcterms:modified xsi:type="dcterms:W3CDTF">2025-07-01T07:3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